
<file path=[Content_Types].xml><?xml version="1.0" encoding="utf-8"?>
<Types xmlns="http://schemas.openxmlformats.org/package/2006/content-types">
  <Override PartName="/customXml/itemProps2.xml" ContentType="application/vnd.openxmlformats-officedocument.customXmlProperties+xml"/>
  <Override PartName="/customXml/itemProps3.xml" ContentType="application/vnd.openxmlformats-officedocument.customXmlProperties+xml"/>
  <Default Extension="bin" ContentType="application/vnd.openxmlformats-officedocument.oleObject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docProps/custom.xml" ContentType="application/vnd.openxmlformats-officedocument.custom-properties+xml"/>
  <Default Extension="vml" ContentType="application/vnd.openxmlformats-officedocument.vmlDrawing"/>
  <Override PartName="/customXml/itemProps4.xml" ContentType="application/vnd.openxmlformats-officedocument.customXmlProperties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5"/>
  </p:sldMasterIdLst>
  <p:notesMasterIdLst>
    <p:notesMasterId r:id="rId7"/>
  </p:notesMasterIdLst>
  <p:sldIdLst>
    <p:sldId id="260" r:id="rId6"/>
  </p:sldIdLst>
  <p:sldSz cx="9906000" cy="6858000" type="A4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B9407"/>
    <a:srgbClr val="EFA207"/>
    <a:srgbClr val="CA6614"/>
    <a:srgbClr val="20B573"/>
    <a:srgbClr val="00BBC1"/>
    <a:srgbClr val="EFA05F"/>
    <a:srgbClr val="27D988"/>
    <a:srgbClr val="177B57"/>
    <a:srgbClr val="C5E4BA"/>
    <a:srgbClr val="0000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 snapToObjects="1" showGuides="1">
      <p:cViewPr>
        <p:scale>
          <a:sx n="150" d="100"/>
          <a:sy n="150" d="100"/>
        </p:scale>
        <p:origin x="2622" y="1716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7" d="100"/>
          <a:sy n="67" d="100"/>
        </p:scale>
        <p:origin x="-2250" y="-114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0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4/8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0"/>
            <a:ext cx="9906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775" y="677863"/>
            <a:ext cx="1619250" cy="673100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Placeholder for client logo</a:t>
            </a:r>
            <a:endParaRPr lang="en-US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25350" y="5821402"/>
            <a:ext cx="4241800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9" y="1508760"/>
            <a:ext cx="8997696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026" name="think-cell Slide" r:id="rId3" imgW="360" imgH="360" progId="TCLayout.ActiveDocument.1">
              <p:embed/>
            </p:oleObj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ltGray">
          <a:xfrm>
            <a:off x="2044700" y="1738313"/>
            <a:ext cx="5816600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5" cstate="print"/>
          <a:stretch>
            <a:fillRect/>
          </a:stretch>
        </p:blipFill>
        <p:spPr bwMode="black">
          <a:xfrm>
            <a:off x="4284996" y="2957695"/>
            <a:ext cx="2801250" cy="86625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>
          <a:xfrm>
            <a:off x="4080807" y="5078640"/>
            <a:ext cx="1744387" cy="581867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26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ank you</a:t>
            </a:r>
            <a:endParaRPr lang="en-US" sz="26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979376" y="6062515"/>
            <a:ext cx="1970411" cy="335646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0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cg.com | bcgperspectives.com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050" name="think-cell Slide" r:id="rId11" imgW="360" imgH="360" progId="TCLayout.ActiveDocument.1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8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FooterSimple"/>
          <p:cNvSpPr/>
          <p:nvPr/>
        </p:nvSpPr>
        <p:spPr>
          <a:xfrm>
            <a:off x="457200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700" noProof="0" smtClean="0">
                <a:solidFill>
                  <a:srgbClr val="808080"/>
                </a:solidFill>
              </a:rPr>
              <a:t>leto.pptx</a:t>
            </a:r>
            <a:endParaRPr lang="en-US" sz="700" noProof="0" dirty="0">
              <a:solidFill>
                <a:srgbClr val="808080"/>
              </a:solidFill>
            </a:endParaRPr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9906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endParaRPr lang="en-US" noProof="0"/>
          </a:p>
        </p:txBody>
      </p:sp>
      <p:sp>
        <p:nvSpPr>
          <p:cNvPr id="10" name="TextBox 9"/>
          <p:cNvSpPr txBox="1"/>
          <p:nvPr/>
        </p:nvSpPr>
        <p:spPr>
          <a:xfrm>
            <a:off x="9259200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 smtClean="0">
              <a:latin typeface="Arial"/>
            </a:endParaRPr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577200" y="6642000"/>
            <a:ext cx="1969200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C00000"/>
                </a:solidFill>
                <a:latin typeface="Arial" pitchFamily="34" charset="0"/>
                <a:ea typeface="+mn-ea"/>
                <a:cs typeface="Arial" pitchFamily="34" charset="0"/>
              </a:rPr>
              <a:t>Draft—for discussion only</a:t>
            </a:r>
            <a:endParaRPr lang="en-US" sz="1200" b="1" noProof="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 rot="-5400000">
            <a:off x="7467600" y="4249738"/>
            <a:ext cx="4560888" cy="20161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b"/>
          <a:lstStyle/>
          <a:p>
            <a:r>
              <a:rPr lang="en-US" sz="700" smtClean="0">
                <a:solidFill>
                  <a:srgbClr val="808080"/>
                </a:solidFill>
              </a:rPr>
              <a:t>Copyright © 2015 by The Boston Consulting Group, Inc. All rights reserved.</a:t>
            </a:r>
            <a:endParaRPr lang="en-US" sz="700">
              <a:solidFill>
                <a:srgbClr val="80808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4" name="Picture 6"/>
          <p:cNvPicPr>
            <a:picLocks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20610" y="6665769"/>
            <a:ext cx="2065500" cy="12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7" r:id="rId3"/>
    <p:sldLayoutId id="2147483654" r:id="rId4"/>
    <p:sldLayoutId id="2147483655" r:id="rId5"/>
    <p:sldLayoutId id="2147483660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3.v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9218" name="think-cell Slide" r:id="rId3" imgW="270" imgH="270" progId="TCLayout.ActiveDocument.1">
              <p:embed/>
            </p:oleObj>
          </a:graphicData>
        </a:graphic>
      </p:graphicFrame>
      <p:sp>
        <p:nvSpPr>
          <p:cNvPr id="4" name="Rectangle 3"/>
          <p:cNvSpPr/>
          <p:nvPr/>
        </p:nvSpPr>
        <p:spPr>
          <a:xfrm>
            <a:off x="5270500" y="1943100"/>
            <a:ext cx="4267200" cy="4267200"/>
          </a:xfrm>
          <a:prstGeom prst="rect">
            <a:avLst/>
          </a:prstGeom>
          <a:gradFill flip="none" rotWithShape="1">
            <a:gsLst>
              <a:gs pos="0">
                <a:srgbClr val="EFA05F">
                  <a:tint val="66000"/>
                  <a:satMod val="160000"/>
                </a:srgbClr>
              </a:gs>
              <a:gs pos="50000">
                <a:srgbClr val="EFA05F">
                  <a:tint val="44500"/>
                  <a:satMod val="160000"/>
                </a:srgbClr>
              </a:gs>
              <a:gs pos="100000">
                <a:srgbClr val="EFA05F">
                  <a:tint val="23500"/>
                  <a:satMod val="160000"/>
                </a:srgbClr>
              </a:gs>
            </a:gsLst>
            <a:lin ang="135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5372100" y="3271520"/>
            <a:ext cx="2209800" cy="2209800"/>
          </a:xfrm>
          <a:prstGeom prst="ellipse">
            <a:avLst/>
          </a:prstGeom>
          <a:gradFill flip="none" rotWithShape="1">
            <a:gsLst>
              <a:gs pos="0">
                <a:srgbClr val="EFA207">
                  <a:tint val="66000"/>
                  <a:satMod val="160000"/>
                </a:srgbClr>
              </a:gs>
              <a:gs pos="50000">
                <a:srgbClr val="EFA207">
                  <a:tint val="44500"/>
                  <a:satMod val="160000"/>
                </a:srgbClr>
              </a:gs>
              <a:gs pos="100000">
                <a:srgbClr val="EFA207">
                  <a:tint val="23500"/>
                  <a:satMod val="160000"/>
                </a:srgbClr>
              </a:gs>
            </a:gsLst>
            <a:lin ang="54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270500" y="4445000"/>
            <a:ext cx="4267200" cy="1765300"/>
          </a:xfrm>
          <a:prstGeom prst="rect">
            <a:avLst/>
          </a:prstGeom>
          <a:gradFill flip="none" rotWithShape="1">
            <a:gsLst>
              <a:gs pos="0">
                <a:srgbClr val="20B573"/>
              </a:gs>
              <a:gs pos="50000">
                <a:srgbClr val="20B573"/>
              </a:gs>
              <a:gs pos="100000">
                <a:srgbClr val="27D988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372100" y="4445000"/>
            <a:ext cx="2209800" cy="1036320"/>
          </a:xfrm>
          <a:prstGeom prst="ellipse">
            <a:avLst/>
          </a:prstGeom>
          <a:solidFill>
            <a:srgbClr val="00BBC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5867400" y="4445000"/>
            <a:ext cx="2209800" cy="1036320"/>
          </a:xfrm>
          <a:prstGeom prst="ellipse">
            <a:avLst/>
          </a:prstGeom>
          <a:solidFill>
            <a:srgbClr val="20B57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5373054" y="4975860"/>
            <a:ext cx="1272540" cy="1386840"/>
          </a:xfrm>
          <a:custGeom>
            <a:avLst/>
            <a:gdLst>
              <a:gd name="connsiteX0" fmla="*/ 0 w 1272540"/>
              <a:gd name="connsiteY0" fmla="*/ 0 h 1386840"/>
              <a:gd name="connsiteX1" fmla="*/ 144780 w 1272540"/>
              <a:gd name="connsiteY1" fmla="*/ 1363980 h 1386840"/>
              <a:gd name="connsiteX2" fmla="*/ 1272540 w 1272540"/>
              <a:gd name="connsiteY2" fmla="*/ 1386840 h 1386840"/>
              <a:gd name="connsiteX3" fmla="*/ 472440 w 1272540"/>
              <a:gd name="connsiteY3" fmla="*/ 30480 h 1386840"/>
              <a:gd name="connsiteX4" fmla="*/ 0 w 1272540"/>
              <a:gd name="connsiteY4" fmla="*/ 0 h 1386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2540" h="1386840">
                <a:moveTo>
                  <a:pt x="0" y="0"/>
                </a:moveTo>
                <a:lnTo>
                  <a:pt x="144780" y="1363980"/>
                </a:lnTo>
                <a:lnTo>
                  <a:pt x="1272540" y="1386840"/>
                </a:lnTo>
                <a:lnTo>
                  <a:pt x="472440" y="30480"/>
                </a:lnTo>
                <a:lnTo>
                  <a:pt x="0" y="0"/>
                </a:lnTo>
                <a:close/>
              </a:path>
            </a:pathLst>
          </a:custGeom>
          <a:solidFill>
            <a:srgbClr val="00BBC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reeform 20"/>
          <p:cNvSpPr/>
          <p:nvPr/>
        </p:nvSpPr>
        <p:spPr>
          <a:xfrm>
            <a:off x="5893594" y="4912519"/>
            <a:ext cx="1452562" cy="1433512"/>
          </a:xfrm>
          <a:custGeom>
            <a:avLst/>
            <a:gdLst>
              <a:gd name="connsiteX0" fmla="*/ 735806 w 1452562"/>
              <a:gd name="connsiteY0" fmla="*/ 1433512 h 1433512"/>
              <a:gd name="connsiteX1" fmla="*/ 0 w 1452562"/>
              <a:gd name="connsiteY1" fmla="*/ 161925 h 1433512"/>
              <a:gd name="connsiteX2" fmla="*/ 314325 w 1452562"/>
              <a:gd name="connsiteY2" fmla="*/ 0 h 1433512"/>
              <a:gd name="connsiteX3" fmla="*/ 1231106 w 1452562"/>
              <a:gd name="connsiteY3" fmla="*/ 145256 h 1433512"/>
              <a:gd name="connsiteX4" fmla="*/ 1452562 w 1452562"/>
              <a:gd name="connsiteY4" fmla="*/ 942975 h 1433512"/>
              <a:gd name="connsiteX5" fmla="*/ 735806 w 1452562"/>
              <a:gd name="connsiteY5" fmla="*/ 1433512 h 1433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52562" h="1433512">
                <a:moveTo>
                  <a:pt x="735806" y="1433512"/>
                </a:moveTo>
                <a:lnTo>
                  <a:pt x="0" y="161925"/>
                </a:lnTo>
                <a:lnTo>
                  <a:pt x="314325" y="0"/>
                </a:lnTo>
                <a:lnTo>
                  <a:pt x="1231106" y="145256"/>
                </a:lnTo>
                <a:lnTo>
                  <a:pt x="1452562" y="942975"/>
                </a:lnTo>
                <a:lnTo>
                  <a:pt x="735806" y="1433512"/>
                </a:lnTo>
                <a:close/>
              </a:path>
            </a:pathLst>
          </a:custGeom>
          <a:solidFill>
            <a:srgbClr val="20B57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8200695" y="3271520"/>
            <a:ext cx="165100" cy="165100"/>
          </a:xfrm>
          <a:prstGeom prst="ellipse">
            <a:avLst/>
          </a:prstGeom>
          <a:solidFill>
            <a:srgbClr val="EFA20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rapezoid 26"/>
          <p:cNvSpPr/>
          <p:nvPr/>
        </p:nvSpPr>
        <p:spPr>
          <a:xfrm rot="9600000">
            <a:off x="7381545" y="4932046"/>
            <a:ext cx="50800" cy="215900"/>
          </a:xfrm>
          <a:prstGeom prst="trapezoid">
            <a:avLst/>
          </a:prstGeom>
          <a:solidFill>
            <a:srgbClr val="CA661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Trapezoid 28"/>
          <p:cNvSpPr/>
          <p:nvPr/>
        </p:nvSpPr>
        <p:spPr>
          <a:xfrm rot="-9600000">
            <a:off x="9127795" y="4932048"/>
            <a:ext cx="50800" cy="215900"/>
          </a:xfrm>
          <a:prstGeom prst="trapezoid">
            <a:avLst/>
          </a:prstGeom>
          <a:solidFill>
            <a:srgbClr val="CA661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Isosceles Triangle 21"/>
          <p:cNvSpPr/>
          <p:nvPr/>
        </p:nvSpPr>
        <p:spPr>
          <a:xfrm>
            <a:off x="7486320" y="3436620"/>
            <a:ext cx="1593850" cy="1768475"/>
          </a:xfrm>
          <a:prstGeom prst="triangle">
            <a:avLst/>
          </a:prstGeom>
          <a:solidFill>
            <a:srgbClr val="EFA20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7403770" y="5039995"/>
            <a:ext cx="165100" cy="165100"/>
          </a:xfrm>
          <a:prstGeom prst="ellipse">
            <a:avLst/>
          </a:prstGeom>
          <a:solidFill>
            <a:srgbClr val="EFA20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8997620" y="5039995"/>
            <a:ext cx="165100" cy="165100"/>
          </a:xfrm>
          <a:prstGeom prst="ellipse">
            <a:avLst/>
          </a:prstGeom>
          <a:solidFill>
            <a:srgbClr val="EFA20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7406945" y="3325495"/>
            <a:ext cx="1746250" cy="1765300"/>
          </a:xfrm>
          <a:custGeom>
            <a:avLst/>
            <a:gdLst>
              <a:gd name="connsiteX0" fmla="*/ 796925 w 1746250"/>
              <a:gd name="connsiteY0" fmla="*/ 0 h 1765300"/>
              <a:gd name="connsiteX1" fmla="*/ 952500 w 1746250"/>
              <a:gd name="connsiteY1" fmla="*/ 0 h 1765300"/>
              <a:gd name="connsiteX2" fmla="*/ 1746250 w 1746250"/>
              <a:gd name="connsiteY2" fmla="*/ 1765300 h 1765300"/>
              <a:gd name="connsiteX3" fmla="*/ 0 w 1746250"/>
              <a:gd name="connsiteY3" fmla="*/ 1765300 h 1765300"/>
              <a:gd name="connsiteX4" fmla="*/ 796925 w 1746250"/>
              <a:gd name="connsiteY4" fmla="*/ 0 h 176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46250" h="1765300">
                <a:moveTo>
                  <a:pt x="796925" y="0"/>
                </a:moveTo>
                <a:lnTo>
                  <a:pt x="952500" y="0"/>
                </a:lnTo>
                <a:lnTo>
                  <a:pt x="1746250" y="1765300"/>
                </a:lnTo>
                <a:lnTo>
                  <a:pt x="0" y="1765300"/>
                </a:lnTo>
                <a:lnTo>
                  <a:pt x="796925" y="0"/>
                </a:lnTo>
                <a:close/>
              </a:path>
            </a:pathLst>
          </a:custGeom>
          <a:solidFill>
            <a:srgbClr val="EFA20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ight Triangle 29"/>
          <p:cNvSpPr/>
          <p:nvPr/>
        </p:nvSpPr>
        <p:spPr>
          <a:xfrm flipH="1">
            <a:off x="7924935" y="3995420"/>
            <a:ext cx="358310" cy="1209675"/>
          </a:xfrm>
          <a:prstGeom prst="rtTriangle">
            <a:avLst/>
          </a:prstGeom>
          <a:solidFill>
            <a:srgbClr val="CA661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8283245" y="3852545"/>
            <a:ext cx="222250" cy="1352550"/>
          </a:xfrm>
          <a:prstGeom prst="rect">
            <a:avLst/>
          </a:prstGeom>
          <a:solidFill>
            <a:srgbClr val="EFA20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ight Triangle 33"/>
          <p:cNvSpPr/>
          <p:nvPr/>
        </p:nvSpPr>
        <p:spPr>
          <a:xfrm rot="960000" flipH="1">
            <a:off x="7756664" y="3931114"/>
            <a:ext cx="358310" cy="1251213"/>
          </a:xfrm>
          <a:prstGeom prst="rtTriangle">
            <a:avLst/>
          </a:prstGeom>
          <a:solidFill>
            <a:srgbClr val="DB940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4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D2D2F14E-91D0-46BE-AF0B-03FA64177EC7}">
  <ds:schemaRefs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B87F45E-89F2-4F93-BA38-4E759A2983DE}">
  <ds:schemaRefs>
    <ds:schemaRef ds:uri="urn:sharePointPublishingRcaProperties"/>
  </ds:schemaRefs>
</ds:datastoreItem>
</file>

<file path=customXml/itemProps4.xml><?xml version="1.0" encoding="utf-8"?>
<ds:datastoreItem xmlns:ds="http://schemas.openxmlformats.org/officeDocument/2006/customXml" ds:itemID="{ABDB0175-C2BA-4739-B241-D8A48BED4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0</Words>
  <Application>Microsoft Office PowerPoint</Application>
  <PresentationFormat>A4 Paper (210x297 mm)</PresentationFormat>
  <Paragraphs>0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blank</vt:lpstr>
      <vt:lpstr>think-cell Slide</vt:lpstr>
      <vt:lpstr>Slide 0</vt:lpstr>
    </vt:vector>
  </TitlesOfParts>
  <Company>The Boston Consulting Grou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Kuba Jakub</dc:creator>
  <cp:lastModifiedBy>Kuba Jakub</cp:lastModifiedBy>
  <cp:revision>34</cp:revision>
  <dcterms:created xsi:type="dcterms:W3CDTF">2015-04-08T08:42:09Z</dcterms:created>
  <dcterms:modified xsi:type="dcterms:W3CDTF">2015-04-08T13:5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A4</vt:lpwstr>
  </property>
</Properties>
</file>